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299999999999997</c:v>
                </c:pt>
                <c:pt idx="1">
                  <c:v>0.336</c:v>
                </c:pt>
                <c:pt idx="2">
                  <c:v>0.33399999999999996</c:v>
                </c:pt>
                <c:pt idx="3">
                  <c:v>0.326</c:v>
                </c:pt>
                <c:pt idx="4">
                  <c:v>0.34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58</c:v>
                </c:pt>
                <c:pt idx="1">
                  <c:v>0.355</c:v>
                </c:pt>
                <c:pt idx="2">
                  <c:v>0.35100000000000003</c:v>
                </c:pt>
                <c:pt idx="3">
                  <c:v>0.35700000000000004</c:v>
                </c:pt>
                <c:pt idx="4">
                  <c:v>0.374</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975</c:v>
                </c:pt>
                <c:pt idx="1">
                  <c:v>32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567</c:v>
                </c:pt>
                <c:pt idx="1">
                  <c:v>4682</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41</c:v>
                </c:pt>
                <c:pt idx="1">
                  <c:v>4221</c:v>
                </c:pt>
                <c:pt idx="2">
                  <c:v>4324</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39</c:v>
                </c:pt>
                <c:pt idx="2">
                  <c:v>45</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9.6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1.9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9.0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356-267</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12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998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350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3219</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89</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7819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21%</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8745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452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408</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342</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8.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